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1"/>
    <p:sldMasterId id="2147483693" r:id="rId2"/>
  </p:sldMasterIdLst>
  <p:notesMasterIdLst>
    <p:notesMasterId r:id="rId6"/>
  </p:notesMasterIdLst>
  <p:sldIdLst>
    <p:sldId id="645" r:id="rId3"/>
    <p:sldId id="644" r:id="rId4"/>
    <p:sldId id="646" r:id="rId5"/>
  </p:sldIdLst>
  <p:sldSz cx="9144000" cy="5143500" type="screen16x9"/>
  <p:notesSz cx="6858000" cy="92964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868" userDrawn="1">
          <p15:clr>
            <a:srgbClr val="A4A3A4"/>
          </p15:clr>
        </p15:guide>
        <p15:guide id="2">
          <p15:clr>
            <a:srgbClr val="A4A3A4"/>
          </p15:clr>
        </p15:guide>
        <p15:guide id="3" orient="horz" pos="2364" userDrawn="1">
          <p15:clr>
            <a:srgbClr val="A4A3A4"/>
          </p15:clr>
        </p15:guide>
        <p15:guide id="4" orient="horz">
          <p15:clr>
            <a:srgbClr val="A4A3A4"/>
          </p15:clr>
        </p15:guide>
        <p15:guide id="5" pos="57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chael Keaton" initials="MK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4F81BD"/>
    <a:srgbClr val="0073BF"/>
    <a:srgbClr val="265691"/>
    <a:srgbClr val="268091"/>
    <a:srgbClr val="5C80AC"/>
    <a:srgbClr val="6C8DB4"/>
    <a:srgbClr val="D7E4BD"/>
    <a:srgbClr val="7A9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677" autoAdjust="0"/>
    <p:restoredTop sz="86388" autoAdjust="0"/>
  </p:normalViewPr>
  <p:slideViewPr>
    <p:cSldViewPr snapToGrid="0">
      <p:cViewPr varScale="1">
        <p:scale>
          <a:sx n="112" d="100"/>
          <a:sy n="112" d="100"/>
        </p:scale>
        <p:origin x="114" y="510"/>
      </p:cViewPr>
      <p:guideLst>
        <p:guide orient="horz" pos="2868"/>
        <p:guide/>
        <p:guide orient="horz" pos="2364"/>
        <p:guide orient="horz"/>
        <p:guide pos="5759"/>
      </p:guideLst>
    </p:cSldViewPr>
  </p:slideViewPr>
  <p:outlineViewPr>
    <p:cViewPr>
      <p:scale>
        <a:sx n="33" d="100"/>
        <a:sy n="33" d="100"/>
      </p:scale>
      <p:origin x="0" y="-13542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>
        <p:scale>
          <a:sx n="150" d="100"/>
          <a:sy n="150" d="100"/>
        </p:scale>
        <p:origin x="-1944" y="3930"/>
      </p:cViewPr>
      <p:guideLst>
        <p:guide orient="horz" pos="2928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12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FBDF61-EF38-4E52-B7FB-E234A034DB32}" type="datetimeFigureOut">
              <a:rPr lang="en-US" smtClean="0"/>
              <a:t>1/10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302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16425"/>
            <a:ext cx="5486400" cy="418306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2971800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29675"/>
            <a:ext cx="2971800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76E6CD-6874-4569-AD22-1747A80A48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71345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7.jp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ChangeArrowheads="1"/>
          </p:cNvSpPr>
          <p:nvPr>
            <p:ph type="ctrTitle"/>
          </p:nvPr>
        </p:nvSpPr>
        <p:spPr bwMode="black">
          <a:xfrm>
            <a:off x="631825" y="3683106"/>
            <a:ext cx="7880350" cy="537672"/>
          </a:xfrm>
        </p:spPr>
        <p:txBody>
          <a:bodyPr anchor="ctr"/>
          <a:lstStyle>
            <a:lvl1pPr algn="l">
              <a:lnSpc>
                <a:spcPct val="95000"/>
              </a:lnSpc>
              <a:defRPr sz="2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subTitle" idx="1"/>
          </p:nvPr>
        </p:nvSpPr>
        <p:spPr bwMode="black">
          <a:xfrm>
            <a:off x="632987" y="4215740"/>
            <a:ext cx="7893495" cy="705875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ct val="25000"/>
              </a:spcBef>
              <a:buFont typeface="Wingdings" pitchFamily="2" charset="2"/>
              <a:buNone/>
              <a:defRPr sz="1700">
                <a:solidFill>
                  <a:srgbClr val="7F7F7F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0" name="Rectangle 9"/>
          <p:cNvSpPr/>
          <p:nvPr/>
        </p:nvSpPr>
        <p:spPr bwMode="auto">
          <a:xfrm>
            <a:off x="0" y="0"/>
            <a:ext cx="228600" cy="5152644"/>
          </a:xfrm>
          <a:prstGeom prst="rect">
            <a:avLst/>
          </a:prstGeom>
          <a:solidFill>
            <a:srgbClr val="005AAB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4523" y="0"/>
            <a:ext cx="875146" cy="1130870"/>
          </a:xfrm>
          <a:prstGeom prst="rect">
            <a:avLst/>
          </a:prstGeom>
        </p:spPr>
      </p:pic>
      <p:sp>
        <p:nvSpPr>
          <p:cNvPr id="2" name="TextBox 1"/>
          <p:cNvSpPr txBox="1"/>
          <p:nvPr userDrawn="1"/>
        </p:nvSpPr>
        <p:spPr>
          <a:xfrm>
            <a:off x="7635711" y="4912668"/>
            <a:ext cx="97334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www.rolta.com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0" y="4970330"/>
            <a:ext cx="334393" cy="173170"/>
          </a:xfrm>
        </p:spPr>
        <p:txBody>
          <a:bodyPr/>
          <a:lstStyle/>
          <a:p>
            <a:pPr>
              <a:defRPr/>
            </a:pPr>
            <a:fld id="{C897DF21-F1A0-4954-941F-F13CB150D70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4393" y="4894139"/>
            <a:ext cx="3241892" cy="203357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© Rolta International All Rights Reserved 2017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/>
          <a:srcRect r="780"/>
          <a:stretch/>
        </p:blipFill>
        <p:spPr>
          <a:xfrm>
            <a:off x="228600" y="1483072"/>
            <a:ext cx="8915400" cy="3411067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54888ED-6533-4C12-9528-D8FB24FBF4D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1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54888ED-6533-4C12-9528-D8FB24FBF4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8739040" y="4980359"/>
            <a:ext cx="94578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612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612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636277" y="4980359"/>
            <a:ext cx="65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685122"/>
            <a:endParaRPr lang="en-US" sz="612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en-US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231816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64469" y="176118"/>
            <a:ext cx="7297469" cy="453629"/>
          </a:xfrm>
        </p:spPr>
        <p:txBody>
          <a:bodyPr/>
          <a:lstStyle>
            <a:lvl1pPr>
              <a:defRPr lang="en-US" dirty="0"/>
            </a:lvl1pPr>
          </a:lstStyle>
          <a:p>
            <a:r>
              <a:rPr lang="en-US" dirty="0"/>
              <a:t>Title Text Is Arial Bold, 24 Point and Is Title C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6849" y="902616"/>
            <a:ext cx="8769350" cy="3930641"/>
          </a:xfrm>
        </p:spPr>
        <p:txBody>
          <a:bodyPr/>
          <a:lstStyle>
            <a:lvl1pPr marL="207963" indent="-207963">
              <a:buClr>
                <a:srgbClr val="005AAB"/>
              </a:buClr>
              <a:buSzPct val="120000"/>
              <a:buFont typeface="Wingdings" charset="2"/>
              <a:buChar char="§"/>
              <a:defRPr>
                <a:solidFill>
                  <a:srgbClr val="17375E"/>
                </a:solidFill>
              </a:defRPr>
            </a:lvl1pPr>
            <a:lvl2pPr marL="527050" indent="-207963">
              <a:buClr>
                <a:srgbClr val="005AAB"/>
              </a:buClr>
              <a:buFont typeface="Wingdings" charset="2"/>
              <a:buChar char="§"/>
              <a:defRPr>
                <a:solidFill>
                  <a:srgbClr val="595959"/>
                </a:solidFill>
              </a:defRPr>
            </a:lvl2pPr>
            <a:lvl3pPr>
              <a:buClr>
                <a:srgbClr val="005AAB"/>
              </a:buClr>
              <a:buFont typeface="Wingdings" charset="2"/>
              <a:buChar char="§"/>
              <a:defRPr>
                <a:solidFill>
                  <a:srgbClr val="595959"/>
                </a:solidFill>
              </a:defRPr>
            </a:lvl3pPr>
            <a:lvl4pPr>
              <a:buClr>
                <a:srgbClr val="005AAB"/>
              </a:buClr>
              <a:buFont typeface="Wingdings" charset="2"/>
              <a:buChar char="§"/>
              <a:defRPr>
                <a:solidFill>
                  <a:srgbClr val="595959"/>
                </a:solidFill>
              </a:defRPr>
            </a:lvl4pPr>
            <a:lvl5pPr>
              <a:buClr>
                <a:srgbClr val="005AAB"/>
              </a:buClr>
              <a:buFont typeface="Wingdings" charset="2"/>
              <a:buChar char="§"/>
              <a:defRPr>
                <a:solidFill>
                  <a:srgbClr val="59595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3CB23CE0-0CA2-4FCC-97DB-845EE8B0D5F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5655" y="123599"/>
            <a:ext cx="404358" cy="522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749459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5600" y="172800"/>
            <a:ext cx="7263437" cy="453629"/>
          </a:xfrm>
        </p:spPr>
        <p:txBody>
          <a:bodyPr/>
          <a:lstStyle>
            <a:lvl1pPr>
              <a:defRPr lang="en-US" dirty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85739" y="844152"/>
            <a:ext cx="4308475" cy="3977229"/>
          </a:xfrm>
        </p:spPr>
        <p:txBody>
          <a:bodyPr/>
          <a:lstStyle>
            <a:lvl1pPr marL="207963" indent="-207963">
              <a:buClr>
                <a:srgbClr val="005AAB"/>
              </a:buClr>
              <a:buSzPct val="120000"/>
              <a:buFont typeface="Wingdings" charset="2"/>
              <a:buChar char="§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527050" indent="-207963">
              <a:buClr>
                <a:srgbClr val="005AAB"/>
              </a:buClr>
              <a:buFont typeface="Wingdings" charset="2"/>
              <a:buChar char="§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buClr>
                <a:srgbClr val="005AAB"/>
              </a:buClr>
              <a:buFont typeface="Wingdings" charset="2"/>
              <a:buChar char="§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buClr>
                <a:srgbClr val="005AAB"/>
              </a:buClr>
              <a:buFont typeface="Wingdings" charset="2"/>
              <a:buChar char="§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buClr>
                <a:srgbClr val="005AAB"/>
              </a:buClr>
              <a:buFont typeface="Wingdings" charset="2"/>
              <a:buChar char="§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4" y="844152"/>
            <a:ext cx="4308475" cy="3977229"/>
          </a:xfrm>
        </p:spPr>
        <p:txBody>
          <a:bodyPr/>
          <a:lstStyle>
            <a:lvl1pPr marL="207963" indent="-207963">
              <a:buClr>
                <a:srgbClr val="005AAB"/>
              </a:buClr>
              <a:buSzPct val="120000"/>
              <a:buFont typeface="Wingdings" charset="2"/>
              <a:buChar char="§"/>
              <a:defRPr sz="2000">
                <a:solidFill>
                  <a:srgbClr val="404040"/>
                </a:solidFill>
              </a:defRPr>
            </a:lvl1pPr>
            <a:lvl2pPr marL="527050" indent="-207963">
              <a:buClr>
                <a:srgbClr val="005AAB"/>
              </a:buClr>
              <a:buFont typeface="Wingdings" charset="2"/>
              <a:buChar char="§"/>
              <a:defRPr sz="1800">
                <a:solidFill>
                  <a:srgbClr val="404040"/>
                </a:solidFill>
              </a:defRPr>
            </a:lvl2pPr>
            <a:lvl3pPr>
              <a:buClr>
                <a:srgbClr val="005AAB"/>
              </a:buClr>
              <a:buFont typeface="Wingdings" charset="2"/>
              <a:buChar char="§"/>
              <a:defRPr sz="1600">
                <a:solidFill>
                  <a:srgbClr val="404040"/>
                </a:solidFill>
              </a:defRPr>
            </a:lvl3pPr>
            <a:lvl4pPr>
              <a:buClr>
                <a:srgbClr val="005AAB"/>
              </a:buClr>
              <a:buFont typeface="Wingdings" charset="2"/>
              <a:buChar char="§"/>
              <a:defRPr sz="1400">
                <a:solidFill>
                  <a:srgbClr val="404040"/>
                </a:solidFill>
              </a:defRPr>
            </a:lvl4pPr>
            <a:lvl5pPr>
              <a:buClr>
                <a:srgbClr val="005AAB"/>
              </a:buClr>
              <a:buFont typeface="Wingdings" charset="2"/>
              <a:buChar char="§"/>
              <a:defRPr sz="1400">
                <a:solidFill>
                  <a:srgbClr val="40404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6C2D5904-840E-410E-AAA4-FAB15AA687AD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5655" y="123599"/>
            <a:ext cx="404358" cy="522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1479847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FE8B1E6A-F486-4C5C-8D60-1AA5A42BF20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5655" y="123599"/>
            <a:ext cx="404358" cy="522514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0814391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CD4229FD-D788-43E7-9E79-3D34192AE73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Rectangle 3"/>
          <p:cNvSpPr/>
          <p:nvPr/>
        </p:nvSpPr>
        <p:spPr bwMode="auto">
          <a:xfrm>
            <a:off x="0" y="676055"/>
            <a:ext cx="9144000" cy="319756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5655" y="123599"/>
            <a:ext cx="404358" cy="522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5593302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897DF21-F1A0-4954-941F-F13CB150D70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54040" y="3694113"/>
            <a:ext cx="5486400" cy="990600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50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00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7500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00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250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5000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7500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0000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pic>
        <p:nvPicPr>
          <p:cNvPr id="6" name="Picture 3" descr="E:\ROLTA_Corporate\Roltalogo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136" y="1195758"/>
            <a:ext cx="2124450" cy="2736304"/>
          </a:xfrm>
          <a:prstGeom prst="rect">
            <a:avLst/>
          </a:prstGeom>
          <a:noFill/>
          <a:effectLst/>
        </p:spPr>
      </p:pic>
      <p:sp>
        <p:nvSpPr>
          <p:cNvPr id="7" name="Rectangle 6"/>
          <p:cNvSpPr/>
          <p:nvPr userDrawn="1"/>
        </p:nvSpPr>
        <p:spPr bwMode="auto">
          <a:xfrm>
            <a:off x="0" y="5048132"/>
            <a:ext cx="9144000" cy="95368"/>
          </a:xfrm>
          <a:prstGeom prst="rect">
            <a:avLst/>
          </a:prstGeom>
          <a:solidFill>
            <a:srgbClr val="005AAB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923592" y="1343608"/>
            <a:ext cx="5391275" cy="182258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3124200" y="5048132"/>
            <a:ext cx="2743200" cy="953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© </a:t>
            </a:r>
            <a:r>
              <a:rPr lang="en-US" dirty="0" err="1"/>
              <a:t>Rolta</a:t>
            </a:r>
            <a:r>
              <a:rPr lang="en-US" dirty="0"/>
              <a:t> International All Rights Reserved 2017</a:t>
            </a:r>
          </a:p>
        </p:txBody>
      </p:sp>
    </p:spTree>
    <p:extLst>
      <p:ext uri="{BB962C8B-B14F-4D97-AF65-F5344CB8AC3E}">
        <p14:creationId xmlns:p14="http://schemas.microsoft.com/office/powerpoint/2010/main" val="148510732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897DF21-F1A0-4954-941F-F13CB150D70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097466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2"/>
            <a:ext cx="9144000" cy="5143197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/>
        </p:nvSpPr>
        <p:spPr bwMode="white">
          <a:xfrm>
            <a:off x="2128471" y="1"/>
            <a:ext cx="7017149" cy="3036356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6114802" y="4811437"/>
            <a:ext cx="2846838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6114802" y="4905645"/>
            <a:ext cx="3029197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12" baseline="0">
                <a:solidFill>
                  <a:srgbClr val="FFFFFF"/>
                </a:solidFill>
                <a:latin typeface="+mn-lt"/>
              </a:rPr>
              <a:t>Last Modified 30/11/2017 6:24 PM Arab Standard Time</a:t>
            </a:r>
            <a:endParaRPr lang="en-US" sz="612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6114802" y="4999854"/>
            <a:ext cx="2846838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2314476" y="1097666"/>
            <a:ext cx="6358614" cy="37683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449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2314476" y="2386825"/>
            <a:ext cx="6358614" cy="16486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071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2314476" y="2741311"/>
            <a:ext cx="6358614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071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8615933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612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314476" y="4905678"/>
            <a:ext cx="3616660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615881" eaLnBrk="0" hangingPunct="0"/>
            <a:r>
              <a:rPr lang="en-US" sz="612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615881" eaLnBrk="0" hangingPunct="0"/>
            <a:r>
              <a:rPr lang="en-US" sz="612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0872477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DEEFD0F-179A-4D53-AFDC-473BF92380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7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DEEFD0F-179A-4D53-AFDC-473BF92380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8739040" y="4980359"/>
            <a:ext cx="94578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612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612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636277" y="4980359"/>
            <a:ext cx="65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685122"/>
            <a:endParaRPr lang="en-US" sz="612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en-US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692445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26" Type="http://schemas.openxmlformats.org/officeDocument/2006/relationships/tags" Target="../tags/tag21.xml"/><Relationship Id="rId3" Type="http://schemas.openxmlformats.org/officeDocument/2006/relationships/slideLayout" Target="../slideLayouts/slideLayout10.xml"/><Relationship Id="rId21" Type="http://schemas.openxmlformats.org/officeDocument/2006/relationships/tags" Target="../tags/tag16.xml"/><Relationship Id="rId34" Type="http://schemas.openxmlformats.org/officeDocument/2006/relationships/tags" Target="../tags/tag29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tags" Target="../tags/tag20.xml"/><Relationship Id="rId33" Type="http://schemas.openxmlformats.org/officeDocument/2006/relationships/tags" Target="../tags/tag28.xml"/><Relationship Id="rId2" Type="http://schemas.openxmlformats.org/officeDocument/2006/relationships/slideLayout" Target="../slideLayouts/slideLayout9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29" Type="http://schemas.openxmlformats.org/officeDocument/2006/relationships/tags" Target="../tags/tag24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1.xml"/><Relationship Id="rId11" Type="http://schemas.openxmlformats.org/officeDocument/2006/relationships/tags" Target="../tags/tag6.xml"/><Relationship Id="rId24" Type="http://schemas.openxmlformats.org/officeDocument/2006/relationships/tags" Target="../tags/tag19.xml"/><Relationship Id="rId32" Type="http://schemas.openxmlformats.org/officeDocument/2006/relationships/tags" Target="../tags/tag27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0.xml"/><Relationship Id="rId23" Type="http://schemas.openxmlformats.org/officeDocument/2006/relationships/tags" Target="../tags/tag18.xml"/><Relationship Id="rId28" Type="http://schemas.openxmlformats.org/officeDocument/2006/relationships/tags" Target="../tags/tag23.xml"/><Relationship Id="rId36" Type="http://schemas.openxmlformats.org/officeDocument/2006/relationships/image" Target="../media/image5.emf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31" Type="http://schemas.openxmlformats.org/officeDocument/2006/relationships/tags" Target="../tags/tag26.xml"/><Relationship Id="rId4" Type="http://schemas.openxmlformats.org/officeDocument/2006/relationships/theme" Target="../theme/theme2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Relationship Id="rId27" Type="http://schemas.openxmlformats.org/officeDocument/2006/relationships/tags" Target="../tags/tag22.xml"/><Relationship Id="rId30" Type="http://schemas.openxmlformats.org/officeDocument/2006/relationships/tags" Target="../tags/tag25.xml"/><Relationship Id="rId35" Type="http://schemas.openxmlformats.org/officeDocument/2006/relationships/oleObject" Target="../embeddings/oleObject1.bin"/><Relationship Id="rId8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64642" y="174562"/>
            <a:ext cx="8759825" cy="4536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Title Text Is Arial Bold, 24 Point and Is Title Cas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85738" y="931859"/>
            <a:ext cx="8769350" cy="39322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Body text is Arial, 18 point and sentence cas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4864100"/>
            <a:ext cx="334393" cy="1731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7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C897DF21-F1A0-4954-941F-F13CB150D70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 bwMode="auto">
          <a:xfrm>
            <a:off x="0" y="785686"/>
            <a:ext cx="9144000" cy="158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Rectangle 8"/>
          <p:cNvSpPr/>
          <p:nvPr/>
        </p:nvSpPr>
        <p:spPr bwMode="auto">
          <a:xfrm>
            <a:off x="0" y="5048132"/>
            <a:ext cx="9144000" cy="95368"/>
          </a:xfrm>
          <a:prstGeom prst="rect">
            <a:avLst/>
          </a:prstGeom>
          <a:solidFill>
            <a:srgbClr val="005AAB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8" r:id="rId3"/>
    <p:sldLayoutId id="2147483680" r:id="rId4"/>
    <p:sldLayoutId id="2147483681" r:id="rId5"/>
    <p:sldLayoutId id="2147483682" r:id="rId6"/>
    <p:sldLayoutId id="2147483692" r:id="rId7"/>
  </p:sldLayoutIdLst>
  <p:transition>
    <p:fade/>
  </p:transition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2400" b="0">
          <a:solidFill>
            <a:srgbClr val="005AAB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</a:defRPr>
      </a:lvl9pPr>
    </p:titleStyle>
    <p:bodyStyle>
      <a:lvl1pPr marL="207963" indent="-207963" algn="l" rtl="0" eaLnBrk="1" fontAlgn="base" hangingPunct="1">
        <a:lnSpc>
          <a:spcPct val="95000"/>
        </a:lnSpc>
        <a:spcBef>
          <a:spcPct val="50000"/>
        </a:spcBef>
        <a:spcAft>
          <a:spcPct val="0"/>
        </a:spcAft>
        <a:buClr>
          <a:srgbClr val="005AAB"/>
        </a:buClr>
        <a:buSzPct val="75000"/>
        <a:buFont typeface="Wingdings" charset="2"/>
        <a:buChar char="§"/>
        <a:defRPr sz="20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27050" indent="-207963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rgbClr val="005AAB"/>
        </a:buClr>
        <a:buFont typeface="Wingdings" charset="2"/>
        <a:buChar char="§"/>
        <a:defRPr sz="1800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760413" indent="-173038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rgbClr val="005AAB"/>
        </a:buClr>
        <a:buFont typeface="Wingdings" charset="2"/>
        <a:buChar char="§"/>
        <a:defRPr sz="1600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1054100" indent="-173038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rgbClr val="005AAB"/>
        </a:buClr>
        <a:buFont typeface="Wingdings" charset="2"/>
        <a:buChar char="§"/>
        <a:defRPr sz="1400">
          <a:solidFill>
            <a:schemeClr val="tx1">
              <a:lumMod val="75000"/>
              <a:lumOff val="25000"/>
            </a:schemeClr>
          </a:solidFill>
          <a:latin typeface="+mn-lt"/>
        </a:defRPr>
      </a:lvl4pPr>
      <a:lvl5pPr marL="1343025" indent="-173038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rgbClr val="005AAB"/>
        </a:buClr>
        <a:buFont typeface="Wingdings" charset="2"/>
        <a:buChar char="§"/>
        <a:defRPr sz="1400">
          <a:solidFill>
            <a:schemeClr val="tx1">
              <a:lumMod val="75000"/>
              <a:lumOff val="25000"/>
            </a:schemeClr>
          </a:solidFill>
          <a:latin typeface="+mn-lt"/>
        </a:defRPr>
      </a:lvl5pPr>
      <a:lvl6pPr marL="1800225" indent="-173038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rgbClr val="8D8C8A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6pPr>
      <a:lvl7pPr marL="2257425" indent="-173038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rgbClr val="8D8C8A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7pPr>
      <a:lvl8pPr marL="2714625" indent="-173038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rgbClr val="8D8C8A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8pPr>
      <a:lvl9pPr marL="3171825" indent="-173038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rgbClr val="8D8C8A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9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8365001" y="1485003"/>
            <a:ext cx="1415452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459" baseline="0">
                <a:solidFill>
                  <a:srgbClr val="808080"/>
                </a:solidFill>
                <a:latin typeface="+mn-lt"/>
                <a:ea typeface="+mn-ea"/>
              </a:rPr>
              <a:t>Last Modified 30/11/2017 6:24 PM Arab Standard Time</a:t>
            </a:r>
            <a:endParaRPr lang="en-US" sz="1224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8981356" y="3148488"/>
            <a:ext cx="182742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59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sz="1224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1489" y="176148"/>
            <a:ext cx="8794113" cy="2355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89" y="57977"/>
            <a:ext cx="37510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612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21489" y="424602"/>
            <a:ext cx="8794113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24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gray">
          <a:xfrm>
            <a:off x="121489" y="4826085"/>
            <a:ext cx="8794113" cy="248474"/>
            <a:chOff x="119063" y="6306680"/>
            <a:chExt cx="8618537" cy="324703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6680"/>
              <a:ext cx="8618537" cy="1230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612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8293"/>
              <a:ext cx="7200000" cy="1230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66466" indent="-466466" defTabSz="685122">
                <a:tabLst>
                  <a:tab pos="482258" algn="l"/>
                </a:tabLst>
              </a:pPr>
              <a:r>
                <a:rPr lang="en-US" sz="612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156" y="1493262"/>
            <a:ext cx="4389768" cy="84787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82155" y="779040"/>
            <a:ext cx="4350892" cy="572175"/>
            <a:chOff x="915" y="559"/>
            <a:chExt cx="2686" cy="471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559"/>
              <a:ext cx="2686" cy="47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8546465" y="218666"/>
            <a:ext cx="369140" cy="121893"/>
            <a:chOff x="8379005" y="285750"/>
            <a:chExt cx="361770" cy="15928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9005" y="285750"/>
              <a:ext cx="361770" cy="159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85122">
                <a:buClr>
                  <a:srgbClr val="002960"/>
                </a:buClr>
              </a:pPr>
              <a:r>
                <a:rPr lang="en-US" sz="612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9005" y="285750"/>
              <a:ext cx="0" cy="15928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9005" y="445038"/>
              <a:ext cx="36177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682346" y="4841894"/>
            <a:ext cx="46650" cy="9475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en-US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7697295" y="208414"/>
            <a:ext cx="1035089" cy="582684"/>
            <a:chOff x="7607284" y="279400"/>
            <a:chExt cx="1014423" cy="76144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8011545" y="208493"/>
            <a:ext cx="720839" cy="786772"/>
            <a:chOff x="5894005" y="919828"/>
            <a:chExt cx="706448" cy="1028147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30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7943511" y="208108"/>
            <a:ext cx="788873" cy="1007740"/>
            <a:chOff x="5894005" y="2695123"/>
            <a:chExt cx="773123" cy="1316904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7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52448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091586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</p:sldLayoutIdLst>
  <p:txStyles>
    <p:titleStyle>
      <a:lvl1pPr algn="l" defTabSz="685122" rtl="0" eaLnBrk="1" fontAlgn="base" hangingPunct="1">
        <a:spcBef>
          <a:spcPct val="0"/>
        </a:spcBef>
        <a:spcAft>
          <a:spcPct val="0"/>
        </a:spcAft>
        <a:tabLst>
          <a:tab pos="206508" algn="l"/>
        </a:tabLst>
        <a:defRPr sz="153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2pPr>
      <a:lvl3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3pPr>
      <a:lvl4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4pPr>
      <a:lvl5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5pPr>
      <a:lvl6pPr marL="34984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6pPr>
      <a:lvl7pPr marL="69969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7pPr>
      <a:lvl8pPr marL="104954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8pPr>
      <a:lvl9pPr marL="139939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071" baseline="0">
          <a:solidFill>
            <a:schemeClr val="tx1"/>
          </a:solidFill>
          <a:latin typeface="+mn-lt"/>
          <a:ea typeface="+mn-ea"/>
          <a:cs typeface="+mn-cs"/>
        </a:defRPr>
      </a:lvl1pPr>
      <a:lvl2pPr marL="148200" indent="-14698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071" baseline="0">
          <a:solidFill>
            <a:schemeClr val="tx1"/>
          </a:solidFill>
          <a:latin typeface="+mn-lt"/>
        </a:defRPr>
      </a:lvl2pPr>
      <a:lvl3pPr marL="349849" indent="-200435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071" baseline="0">
          <a:solidFill>
            <a:schemeClr val="tx1"/>
          </a:solidFill>
          <a:latin typeface="+mn-lt"/>
        </a:defRPr>
      </a:lvl3pPr>
      <a:lvl4pPr marL="470111" indent="-11904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071" baseline="0">
          <a:solidFill>
            <a:schemeClr val="tx1"/>
          </a:solidFill>
          <a:latin typeface="+mn-lt"/>
        </a:defRPr>
      </a:lvl4pPr>
      <a:lvl5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071" baseline="0">
          <a:solidFill>
            <a:schemeClr val="tx1"/>
          </a:solidFill>
          <a:latin typeface="+mn-lt"/>
        </a:defRPr>
      </a:lvl5pPr>
      <a:lvl6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6pPr>
      <a:lvl7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7pPr>
      <a:lvl8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8pPr>
      <a:lvl9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1pPr>
      <a:lvl2pPr marL="34984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2pPr>
      <a:lvl3pPr marL="69969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3pPr>
      <a:lvl4pPr marL="104954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4pPr>
      <a:lvl5pPr marL="139939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5pPr>
      <a:lvl6pPr marL="174924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6pPr>
      <a:lvl7pPr marL="209909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7pPr>
      <a:lvl8pPr marL="244894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8pPr>
      <a:lvl9pPr marL="279879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1A9457-1BBD-42F6-9DBE-A4D6C530B84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Challenge</a:t>
            </a:r>
          </a:p>
          <a:p>
            <a:r>
              <a:rPr lang="en-US" dirty="0"/>
              <a:t>Oil production rates lower than expected, potentially from unoptimized oilfield operational set points (for e.g. GLIR, choke sizes)</a:t>
            </a:r>
          </a:p>
          <a:p>
            <a:r>
              <a:rPr lang="en-US" dirty="0"/>
              <a:t>Constrained on Injection syste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E2B279-BE84-4609-A2B9-67FE342AC3F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B23CE0-0CA2-4FCC-97DB-845EE8B0D5F5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05B093F-4C8B-4F6C-BBC7-E41202C24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469" y="176118"/>
            <a:ext cx="7297469" cy="453629"/>
          </a:xfrm>
        </p:spPr>
        <p:txBody>
          <a:bodyPr/>
          <a:lstStyle/>
          <a:p>
            <a:r>
              <a:rPr lang="en-US" dirty="0"/>
              <a:t>Gas Lift Optimisation</a:t>
            </a:r>
          </a:p>
        </p:txBody>
      </p:sp>
    </p:spTree>
    <p:extLst>
      <p:ext uri="{BB962C8B-B14F-4D97-AF65-F5344CB8AC3E}">
        <p14:creationId xmlns:p14="http://schemas.microsoft.com/office/powerpoint/2010/main" val="146300492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CFA4BF-12C9-40F7-8F98-45FC6300BD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as Lift Optimis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29BC51-8899-4D42-9711-5620984217D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US" dirty="0"/>
              <a:t>Objective:</a:t>
            </a:r>
          </a:p>
          <a:p>
            <a:r>
              <a:rPr lang="en-US" dirty="0"/>
              <a:t>Quantify the degree of correlation between operational parameters and liquid production rates.</a:t>
            </a:r>
          </a:p>
          <a:p>
            <a:pPr lvl="1"/>
            <a:r>
              <a:rPr lang="en-US" dirty="0"/>
              <a:t>Sensitivity (correlation) Individual well wise analysis </a:t>
            </a:r>
          </a:p>
          <a:p>
            <a:pPr lvl="2"/>
            <a:r>
              <a:rPr lang="en-US" dirty="0"/>
              <a:t>Objective variable: Oil </a:t>
            </a:r>
          </a:p>
          <a:p>
            <a:pPr lvl="2"/>
            <a:r>
              <a:rPr lang="en-US" dirty="0"/>
              <a:t>Objective variable: Water</a:t>
            </a:r>
          </a:p>
          <a:p>
            <a:pPr lvl="2"/>
            <a:r>
              <a:rPr lang="en-US" dirty="0"/>
              <a:t>Objective variable: Total liquid</a:t>
            </a:r>
          </a:p>
          <a:p>
            <a:r>
              <a:rPr lang="en-US" dirty="0"/>
              <a:t>Identify production opportunities and provide recommended operational set points for optimum oil production</a:t>
            </a:r>
          </a:p>
          <a:p>
            <a:pPr lvl="1"/>
            <a:r>
              <a:rPr lang="en-US" dirty="0"/>
              <a:t>Individual well wise daily and weekly recommendation (against a target oil production)</a:t>
            </a:r>
          </a:p>
          <a:p>
            <a:pPr lvl="2"/>
            <a:r>
              <a:rPr lang="en-US" dirty="0"/>
              <a:t>Injection gas rate</a:t>
            </a:r>
          </a:p>
          <a:p>
            <a:pPr lvl="2"/>
            <a:r>
              <a:rPr lang="en-US" dirty="0"/>
              <a:t>Choke</a:t>
            </a:r>
          </a:p>
          <a:p>
            <a:pPr lvl="1"/>
            <a:r>
              <a:rPr lang="en-US" dirty="0"/>
              <a:t>Note: check sensitivity analysis code in R-script</a:t>
            </a:r>
          </a:p>
          <a:p>
            <a:r>
              <a:rPr lang="en-US" dirty="0"/>
              <a:t>Deriving potential for individual well on daily basis with respect to minimum production (last 30 days with similar condition) and average production over next one month</a:t>
            </a:r>
          </a:p>
          <a:p>
            <a:r>
              <a:rPr lang="en-US" dirty="0"/>
              <a:t>Reduction in water Production (Varun will elaborate)</a:t>
            </a:r>
          </a:p>
          <a:p>
            <a:endParaRPr lang="en-US" dirty="0"/>
          </a:p>
          <a:p>
            <a:pPr marL="587375" lvl="2" indent="0"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0F0FEC-76AA-4C0A-8018-F7933E6A5A0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B23CE0-0CA2-4FCC-97DB-845EE8B0D5F5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430968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681CD4-3633-4104-AC4D-8914C5E5115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ell wise Recommended injection rate for next one year </a:t>
            </a:r>
          </a:p>
          <a:p>
            <a:pPr lvl="1"/>
            <a:r>
              <a:rPr lang="en-US" dirty="0"/>
              <a:t>Recommendation for increase / decrease injection rate</a:t>
            </a:r>
          </a:p>
          <a:p>
            <a:pPr lvl="1"/>
            <a:r>
              <a:rPr lang="en-US" dirty="0"/>
              <a:t>Potential benefits due to increase in oil production</a:t>
            </a:r>
          </a:p>
          <a:p>
            <a:pPr lvl="1"/>
            <a:r>
              <a:rPr lang="en-US" dirty="0"/>
              <a:t>Potential benefits due to decrease in water production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C4BCC9-AFE4-401E-A066-FF58D4AFEAB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B23CE0-0CA2-4FCC-97DB-845EE8B0D5F5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A5F17BC-B1F9-4CDA-8A26-F8297A8945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469" y="176118"/>
            <a:ext cx="7297469" cy="453629"/>
          </a:xfrm>
        </p:spPr>
        <p:txBody>
          <a:bodyPr/>
          <a:lstStyle/>
          <a:p>
            <a:r>
              <a:rPr lang="en-US" dirty="0"/>
              <a:t>Gas Lift Optimisation</a:t>
            </a:r>
          </a:p>
        </p:txBody>
      </p:sp>
    </p:spTree>
    <p:extLst>
      <p:ext uri="{BB962C8B-B14F-4D97-AF65-F5344CB8AC3E}">
        <p14:creationId xmlns:p14="http://schemas.microsoft.com/office/powerpoint/2010/main" val="196211386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heme/theme1.xml><?xml version="1.0" encoding="utf-8"?>
<a:theme xmlns:a="http://schemas.openxmlformats.org/drawingml/2006/main" name="Rolta Wid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12931"/>
        </a:dk2>
        <a:lt2>
          <a:srgbClr val="D80A62"/>
        </a:lt2>
        <a:accent1>
          <a:srgbClr val="0091D0"/>
        </a:accent1>
        <a:accent2>
          <a:srgbClr val="A30246"/>
        </a:accent2>
        <a:accent3>
          <a:srgbClr val="AAACAD"/>
        </a:accent3>
        <a:accent4>
          <a:srgbClr val="DADADA"/>
        </a:accent4>
        <a:accent5>
          <a:srgbClr val="AAC7E4"/>
        </a:accent5>
        <a:accent6>
          <a:srgbClr val="93023F"/>
        </a:accent6>
        <a:hlink>
          <a:srgbClr val="4E8E22"/>
        </a:hlink>
        <a:folHlink>
          <a:srgbClr val="ACABA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7C0639"/>
        </a:dk2>
        <a:lt2>
          <a:srgbClr val="C0C0C0"/>
        </a:lt2>
        <a:accent1>
          <a:srgbClr val="0074A8"/>
        </a:accent1>
        <a:accent2>
          <a:srgbClr val="A30246"/>
        </a:accent2>
        <a:accent3>
          <a:srgbClr val="FFFFFF"/>
        </a:accent3>
        <a:accent4>
          <a:srgbClr val="000000"/>
        </a:accent4>
        <a:accent5>
          <a:srgbClr val="AABCD1"/>
        </a:accent5>
        <a:accent6>
          <a:srgbClr val="93023F"/>
        </a:accent6>
        <a:hlink>
          <a:srgbClr val="4E8E22"/>
        </a:hlink>
        <a:folHlink>
          <a:srgbClr val="95949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NEW AdvizeX Widescreen" id="{96EE928A-3B5A-459E-9112-5CA4747D3E60}" vid="{B42C93FF-BFCD-432E-ADC1-D84674A244C8}"/>
    </a:ext>
  </a:extLst>
</a:theme>
</file>

<file path=ppt/theme/theme2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FECB3D48-C27E-4017-8EB9-276E3244A45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olta Wide</Template>
  <TotalTime>17867</TotalTime>
  <Words>186</Words>
  <Application>Microsoft Office PowerPoint</Application>
  <PresentationFormat>On-screen Show (16:9)</PresentationFormat>
  <Paragraphs>27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Arial</vt:lpstr>
      <vt:lpstr>Calibri</vt:lpstr>
      <vt:lpstr>Wingdings</vt:lpstr>
      <vt:lpstr>Rolta Wide</vt:lpstr>
      <vt:lpstr>Firm Format - template_Blue</vt:lpstr>
      <vt:lpstr>think-cell Slide</vt:lpstr>
      <vt:lpstr>Gas Lift Optimisation</vt:lpstr>
      <vt:lpstr>Gas Lift Optimisation</vt:lpstr>
      <vt:lpstr>Gas Lift Optimisation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hillips 66</dc:title>
  <dc:creator>Michael Keaton</dc:creator>
  <cp:lastModifiedBy>Ravindra Gurav</cp:lastModifiedBy>
  <cp:revision>578</cp:revision>
  <dcterms:created xsi:type="dcterms:W3CDTF">2016-08-08T23:06:20Z</dcterms:created>
  <dcterms:modified xsi:type="dcterms:W3CDTF">2018-01-10T11:52:41Z</dcterms:modified>
</cp:coreProperties>
</file>